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8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0.xml" ContentType="application/vnd.openxmlformats-officedocument.theme+xml"/>
  <Override PartName="/ppt/tags/tag139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ags/tag14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2.xml" ContentType="application/vnd.openxmlformats-officedocument.them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heme/theme13.xml" ContentType="application/vnd.openxmlformats-officedocument.theme+xml"/>
  <Override PartName="/ppt/theme/theme1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77" r:id="rId2"/>
    <p:sldMasterId id="2147483783" r:id="rId3"/>
    <p:sldMasterId id="2147483796" r:id="rId4"/>
    <p:sldMasterId id="2147483809" r:id="rId5"/>
    <p:sldMasterId id="2147483821" r:id="rId6"/>
    <p:sldMasterId id="2147483833" r:id="rId7"/>
    <p:sldMasterId id="2147483847" r:id="rId8"/>
    <p:sldMasterId id="2147483860" r:id="rId9"/>
    <p:sldMasterId id="2147483880" r:id="rId10"/>
    <p:sldMasterId id="2147483905" r:id="rId11"/>
    <p:sldMasterId id="2147483924" r:id="rId12"/>
  </p:sldMasterIdLst>
  <p:notesMasterIdLst>
    <p:notesMasterId r:id="rId15"/>
  </p:notesMasterIdLst>
  <p:handoutMasterIdLst>
    <p:handoutMasterId r:id="rId16"/>
  </p:handoutMasterIdLst>
  <p:sldIdLst>
    <p:sldId id="2056" r:id="rId13"/>
    <p:sldId id="2057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2E769C7-C308-47A0-8084-DB05CE2CC78E}">
          <p14:sldIdLst>
            <p14:sldId id="2056"/>
            <p14:sldId id="205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420660A-3DD0-1CD7-02E2-6C5BF32A292C}" name="Gjorgji Shemov" initials="GS" userId="S::gshemov@entsoe.eu::ff19eb0e-05fd-4ee6-b5e2-7841536b51b7" providerId="AD"/>
  <p188:author id="{91AF2B0D-D1C1-A6EB-DCC3-392409BA699A}" name="Ludivne Marcenac" initials="LM" userId="Ludivne Marcenac" providerId="None"/>
  <p188:author id="{FB8F8984-54FE-C642-2D00-B5017F6FF5DB}" name="Ignacio Zubieta Ochoa" initials="IZO" userId="S::IZubietaOchoa@entsoe.eu::31221497-765f-40fd-97db-d53dab6b8d7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gnacio Zubieta Ochoa" initials="IZO" lastIdx="1" clrIdx="0">
    <p:extLst>
      <p:ext uri="{19B8F6BF-5375-455C-9EA6-DF929625EA0E}">
        <p15:presenceInfo xmlns:p15="http://schemas.microsoft.com/office/powerpoint/2012/main" userId="S::IZubietaOchoa@entsoe.eu::31221497-765f-40fd-97db-d53dab6b8d7b" providerId="AD"/>
      </p:ext>
    </p:extLst>
  </p:cmAuthor>
  <p:cmAuthor id="2" name="Tore Granli" initials="TG" lastIdx="5" clrIdx="1">
    <p:extLst>
      <p:ext uri="{19B8F6BF-5375-455C-9EA6-DF929625EA0E}">
        <p15:presenceInfo xmlns:p15="http://schemas.microsoft.com/office/powerpoint/2012/main" userId="S::tore.granli@Statnett.no::d9e72ea4-0f1d-4c6b-9edb-4a0aa716be1b" providerId="AD"/>
      </p:ext>
    </p:extLst>
  </p:cmAuthor>
  <p:cmAuthor id="3" name="CoB" initials="CoB" lastIdx="1" clrIdx="2">
    <p:extLst>
      <p:ext uri="{19B8F6BF-5375-455C-9EA6-DF929625EA0E}">
        <p15:presenceInfo xmlns:p15="http://schemas.microsoft.com/office/powerpoint/2012/main" userId="CoB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B4C8"/>
    <a:srgbClr val="00947F"/>
    <a:srgbClr val="0F218B"/>
    <a:srgbClr val="D1D1D1"/>
    <a:srgbClr val="C5FAF2"/>
    <a:srgbClr val="FDEDD6"/>
    <a:srgbClr val="F2F2F2"/>
    <a:srgbClr val="D6D6DA"/>
    <a:srgbClr val="009992"/>
    <a:srgbClr val="0D2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718" autoAdjust="0"/>
  </p:normalViewPr>
  <p:slideViewPr>
    <p:cSldViewPr showGuides="1">
      <p:cViewPr varScale="1">
        <p:scale>
          <a:sx n="114" d="100"/>
          <a:sy n="114" d="100"/>
        </p:scale>
        <p:origin x="462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340215440"/>
        <c:axId val="270419080"/>
      </c:barChart>
      <c:catAx>
        <c:axId val="3402154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70419080"/>
        <c:crosses val="autoZero"/>
        <c:auto val="1"/>
        <c:lblAlgn val="ctr"/>
        <c:lblOffset val="100"/>
        <c:noMultiLvlLbl val="0"/>
      </c:catAx>
      <c:valAx>
        <c:axId val="2704190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4021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;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/</a:t>
            </a:r>
            <a:r>
              <a:rPr lang="de-DE" dirty="0" err="1"/>
              <a:t>colour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ppea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8590816"/>
        <c:axId val="268591208"/>
      </c:areaChart>
      <c:dateAx>
        <c:axId val="26859081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68591208"/>
        <c:crosses val="autoZero"/>
        <c:auto val="1"/>
        <c:lblOffset val="100"/>
        <c:baseTimeUnit val="months"/>
      </c:dateAx>
      <c:valAx>
        <c:axId val="268591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685908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;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/</a:t>
            </a:r>
            <a:r>
              <a:rPr lang="de-DE" dirty="0" err="1"/>
              <a:t>colour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ppea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DAC4D7-E809-3C42-8861-7253F4E2F8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05ABE4-7D4C-EB44-877F-96C2F4B465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5A7DDC-5DB1-6244-9F79-DA6A8A626651}" type="datetimeFigureOut">
              <a:rPr lang="en-GB" smtClean="0"/>
              <a:t>31/0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D3555D-255B-734E-9D75-8A5DABF465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88CAD-A74E-4D49-B670-8C8BEAA6E9A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0514D-EA06-A748-83B4-912498E611A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2260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59A86B-9331-47F8-9CB8-30AFD1F6D4A5}" type="datetimeFigureOut">
              <a:rPr lang="de-DE" smtClean="0"/>
              <a:t>31.0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7DFC0B-81FF-47CA-B58A-4F56118074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19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1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jp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2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2.jp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5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5" Type="http://schemas.openxmlformats.org/officeDocument/2006/relationships/image" Target="../media/image16.jpg"/><Relationship Id="rId4" Type="http://schemas.openxmlformats.org/officeDocument/2006/relationships/image" Target="../media/image1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5" Type="http://schemas.openxmlformats.org/officeDocument/2006/relationships/image" Target="../media/image16.jpg"/><Relationship Id="rId4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4.xml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9.jp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9.jp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8.xml"/><Relationship Id="rId5" Type="http://schemas.openxmlformats.org/officeDocument/2006/relationships/image" Target="../media/image20.jpg"/><Relationship Id="rId4" Type="http://schemas.openxmlformats.org/officeDocument/2006/relationships/image" Target="../media/image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3.xml"/><Relationship Id="rId5" Type="http://schemas.openxmlformats.org/officeDocument/2006/relationships/image" Target="../media/image20.jpg"/><Relationship Id="rId4" Type="http://schemas.openxmlformats.org/officeDocument/2006/relationships/image" Target="../media/image4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8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0.xml"/><Relationship Id="rId4" Type="http://schemas.openxmlformats.org/officeDocument/2006/relationships/image" Target="../media/image4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5.xml"/><Relationship Id="rId4" Type="http://schemas.openxmlformats.org/officeDocument/2006/relationships/image" Target="../media/image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8.xml"/><Relationship Id="rId4" Type="http://schemas.openxmlformats.org/officeDocument/2006/relationships/image" Target="../media/image4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7334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7128" y="1592263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2632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49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2992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609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870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tel og liten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424" y="548680"/>
            <a:ext cx="9025003" cy="492443"/>
          </a:xfrm>
        </p:spPr>
        <p:txBody>
          <a:bodyPr anchor="t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424" y="1220755"/>
            <a:ext cx="9985109" cy="5088565"/>
          </a:xfrm>
        </p:spPr>
        <p:txBody>
          <a:bodyPr/>
          <a:lstStyle>
            <a:lvl1pPr>
              <a:lnSpc>
                <a:spcPct val="150000"/>
              </a:lnSpc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2133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Sted, dato</a:t>
            </a:r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Fremtiden er </a:t>
            </a:r>
            <a:r>
              <a:rPr lang="nb-NO" b="1"/>
              <a:t>elektrisk</a:t>
            </a:r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2F8C147-E5C9-4E5A-BFDA-02BE385E1D0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244839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2400" b="1" kern="1200" dirty="0">
                <a:solidFill>
                  <a:srgbClr val="0F218B"/>
                </a:solidFill>
                <a:effectLst/>
                <a:latin typeface="+mj-lt"/>
                <a:ea typeface="Roboto Condensed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7334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7128" y="1592263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01906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fish&#10;&#10;Description automatically generated">
            <a:extLst>
              <a:ext uri="{FF2B5EF4-FFF2-40B4-BE49-F238E27FC236}">
                <a16:creationId xmlns:a16="http://schemas.microsoft.com/office/drawing/2014/main" id="{F8072439-C587-FEFA-3D60-F050B9E148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106" y="2818718"/>
            <a:ext cx="11617788" cy="122056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lang="de-DE" sz="5500" b="1" kern="1200" dirty="0">
                <a:solidFill>
                  <a:schemeClr val="bg1"/>
                </a:solidFill>
                <a:effectLst/>
                <a:latin typeface="+mj-lt"/>
                <a:ea typeface="Roboto Condensed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6203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Chapter Cover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D6A02694-EF4B-9F34-8F20-9AC0C2DA70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36099"/>
            <a:ext cx="7302071" cy="3821901"/>
          </a:xfrm>
          <a:prstGeom prst="rect">
            <a:avLst/>
          </a:prstGeom>
        </p:spPr>
      </p:pic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912" y="2079743"/>
            <a:ext cx="6600982" cy="269851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lang="de-DE" sz="5500" b="1" kern="1200" dirty="0">
                <a:solidFill>
                  <a:schemeClr val="accent1"/>
                </a:solidFill>
                <a:effectLst/>
                <a:latin typeface="+mj-lt"/>
                <a:ea typeface="Roboto Condensed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8707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6" y="1988840"/>
            <a:ext cx="11616268" cy="38158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lnSpc>
                <a:spcPct val="90000"/>
              </a:lnSpc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lnSpc>
                <a:spcPct val="90000"/>
              </a:lnSpc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lnSpc>
                <a:spcPct val="90000"/>
              </a:lnSpc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lnSpc>
                <a:spcPct val="90000"/>
              </a:lnSpc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773092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86346" y="2060848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975997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7" y="2492897"/>
            <a:ext cx="5664117" cy="3311810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40016" y="2492897"/>
            <a:ext cx="5664117" cy="331181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57194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73CB86-B5A5-49E5-8A79-76C649A80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3408E2-8784-4C7C-8D01-8774D376FE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71805"/>
            <a:ext cx="10515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FB0BD7-57DD-4284-AF5E-1EAD1D48F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F789D-18D9-4D4D-8B50-54E499B5B675}" type="datetimeFigureOut">
              <a:rPr lang="en-GB" smtClean="0"/>
              <a:t>31/01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BE9775-2BF0-4D22-82B0-508189CD6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B82688-DFC0-45E1-BD11-99F42F2A9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42F80-A11E-4AD6-B56E-12DF3615C7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55788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287867" y="2457451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56133" y="2457450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272000" y="2457449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3553912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89282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376" y="224684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l">
              <a:lnSpc>
                <a:spcPts val="3200"/>
              </a:lnSpc>
              <a:defRPr lang="de-DE" sz="2400" b="1" kern="1200" dirty="0">
                <a:solidFill>
                  <a:srgbClr val="0F218B"/>
                </a:solidFill>
                <a:effectLst/>
                <a:latin typeface="Roboto Condensed" panose="02000000000000000000" pitchFamily="2" charset="0"/>
                <a:ea typeface="Roboto Condensed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543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570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053463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727436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837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263680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253719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07256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961088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317397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23912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31570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46685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0122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237931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275226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719230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6255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712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 ENTSO-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664636B-F6EE-43D4-9658-9D7D8F5893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618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0153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596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4020421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798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623359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80119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232707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2327196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03211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97567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,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628" y="6746157"/>
            <a:ext cx="8492464" cy="1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7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 dirty="0"/>
              <a:t>   </a:t>
            </a:r>
            <a:br>
              <a:rPr lang="de-DE" b="1" dirty="0"/>
            </a:br>
            <a:r>
              <a:rPr lang="de-DE" b="1" dirty="0"/>
              <a:t> </a:t>
            </a:r>
            <a:endParaRPr lang="de-DE" b="1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r>
              <a:rPr lang="de-DE" sz="900" i="1" dirty="0">
                <a:solidFill>
                  <a:prstClr val="black"/>
                </a:solidFill>
              </a:rPr>
              <a:t>Source: Insert </a:t>
            </a:r>
            <a:r>
              <a:rPr lang="de-DE" sz="900" i="1" dirty="0" err="1">
                <a:solidFill>
                  <a:prstClr val="black"/>
                </a:solidFill>
              </a:rPr>
              <a:t>here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if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applicable</a:t>
            </a:r>
            <a:endParaRPr lang="de-DE" sz="900" dirty="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76129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pi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har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on it. </a:t>
            </a:r>
            <a:r>
              <a:rPr lang="de-DE" dirty="0" err="1">
                <a:solidFill>
                  <a:srgbClr val="0F218B"/>
                </a:solidFill>
              </a:rPr>
              <a:t>Now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</a:t>
            </a:r>
            <a:r>
              <a:rPr lang="de-DE" dirty="0">
                <a:solidFill>
                  <a:srgbClr val="0F218B"/>
                </a:solidFill>
              </a:rPr>
              <a:t>. </a:t>
            </a:r>
            <a:r>
              <a:rPr lang="de-DE" dirty="0" err="1">
                <a:solidFill>
                  <a:srgbClr val="0F218B"/>
                </a:solidFill>
              </a:rPr>
              <a:t>If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you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keep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ursor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bo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, a </a:t>
            </a:r>
            <a:r>
              <a:rPr lang="de-DE" dirty="0" err="1">
                <a:solidFill>
                  <a:srgbClr val="0F218B"/>
                </a:solidFill>
              </a:rPr>
              <a:t>descripti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s</a:t>
            </a:r>
            <a:r>
              <a:rPr lang="de-DE" dirty="0">
                <a:solidFill>
                  <a:srgbClr val="0F218B"/>
                </a:solidFill>
              </a:rPr>
              <a:t>. </a:t>
            </a:r>
          </a:p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yp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ayout</a:t>
            </a:r>
            <a:r>
              <a:rPr lang="de-DE" dirty="0"/>
              <a:t> and </a:t>
            </a:r>
            <a:r>
              <a:rPr lang="de-DE" dirty="0" err="1"/>
              <a:t>colour</a:t>
            </a:r>
            <a:r>
              <a:rPr lang="de-DE" dirty="0"/>
              <a:t> </a:t>
            </a:r>
            <a:r>
              <a:rPr lang="de-DE" dirty="0" err="1"/>
              <a:t>scheme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vis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frai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gradients</a:t>
            </a:r>
            <a:r>
              <a:rPr lang="de-DE" dirty="0"/>
              <a:t> and </a:t>
            </a:r>
            <a:r>
              <a:rPr lang="de-DE" dirty="0" err="1"/>
              <a:t>shadows</a:t>
            </a:r>
            <a:r>
              <a:rPr lang="de-DE" dirty="0"/>
              <a:t> –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no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in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. </a:t>
            </a:r>
          </a:p>
          <a:p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  <a:endParaRPr lang="de-DE" dirty="0"/>
          </a:p>
          <a:p>
            <a:endParaRPr lang="de-DE" dirty="0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0042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 dirty="0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0943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general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idea</a:t>
            </a:r>
            <a:r>
              <a:rPr lang="de-DE" dirty="0"/>
              <a:t> jus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</a:t>
            </a:r>
            <a:r>
              <a:rPr lang="de-DE" dirty="0" err="1"/>
              <a:t>abstracts</a:t>
            </a:r>
            <a:r>
              <a:rPr lang="de-DE" dirty="0"/>
              <a:t> -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creen </a:t>
            </a:r>
            <a:r>
              <a:rPr lang="de-DE" dirty="0" err="1"/>
              <a:t>presentation</a:t>
            </a:r>
            <a:r>
              <a:rPr lang="de-DE" dirty="0"/>
              <a:t>, and </a:t>
            </a:r>
            <a:r>
              <a:rPr lang="de-DE" dirty="0" err="1"/>
              <a:t>nobody</a:t>
            </a:r>
            <a:r>
              <a:rPr lang="de-DE" dirty="0"/>
              <a:t>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 dirty="0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Be aware that there is a significant difference between using only the enter-key and using the combination of enter- and shift-key</a:t>
            </a:r>
            <a:r>
              <a:rPr lang="de-DE" dirty="0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extbox</a:t>
            </a:r>
            <a:r>
              <a:rPr lang="de-DE" dirty="0"/>
              <a:t>,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ter-</a:t>
            </a:r>
            <a:r>
              <a:rPr lang="de-DE" dirty="0" err="1"/>
              <a:t>key</a:t>
            </a:r>
            <a:r>
              <a:rPr lang="de-DE" dirty="0"/>
              <a:t> will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aragraph</a:t>
            </a:r>
            <a:r>
              <a:rPr lang="de-DE" dirty="0"/>
              <a:t>, </a:t>
            </a:r>
            <a:r>
              <a:rPr lang="de-DE" dirty="0" err="1"/>
              <a:t>causing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in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(like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entence</a:t>
            </a:r>
            <a:r>
              <a:rPr lang="de-DE" dirty="0"/>
              <a:t>) and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, </a:t>
            </a:r>
            <a:r>
              <a:rPr lang="de-DE" dirty="0" err="1"/>
              <a:t>use</a:t>
            </a:r>
            <a:r>
              <a:rPr lang="de-DE" dirty="0"/>
              <a:t> shift-</a:t>
            </a:r>
            <a:r>
              <a:rPr lang="de-DE" dirty="0" err="1"/>
              <a:t>enter</a:t>
            </a:r>
            <a:r>
              <a:rPr lang="de-DE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680157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here</a:t>
            </a:r>
            <a:r>
              <a:rPr lang="de-DE" dirty="0">
                <a:solidFill>
                  <a:srgbClr val="0F218B"/>
                </a:solidFill>
              </a:rPr>
              <a:t>.</a:t>
            </a:r>
            <a:endParaRPr lang="de-DE" i="1" dirty="0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 dirty="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503145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 dirty="0">
                <a:solidFill>
                  <a:srgbClr val="0F218B"/>
                </a:solidFill>
              </a:rPr>
              <a:t>Headline 3 – Edit </a:t>
            </a:r>
            <a:r>
              <a:rPr lang="de-DE" b="1" dirty="0" err="1">
                <a:solidFill>
                  <a:srgbClr val="0F218B"/>
                </a:solidFill>
              </a:rPr>
              <a:t>text</a:t>
            </a:r>
            <a:r>
              <a:rPr lang="de-DE" b="1" dirty="0">
                <a:solidFill>
                  <a:srgbClr val="0F218B"/>
                </a:solidFill>
              </a:rPr>
              <a:t> </a:t>
            </a:r>
            <a:r>
              <a:rPr lang="de-DE" b="1" dirty="0" err="1">
                <a:solidFill>
                  <a:srgbClr val="0F218B"/>
                </a:solidFill>
              </a:rPr>
              <a:t>here</a:t>
            </a:r>
            <a:r>
              <a:rPr lang="de-DE" b="1" dirty="0">
                <a:solidFill>
                  <a:srgbClr val="0F218B"/>
                </a:solidFill>
              </a:rPr>
              <a:t>.</a:t>
            </a:r>
            <a:endParaRPr lang="de-DE" b="1" i="1" dirty="0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023799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F218B"/>
                </a:solidFill>
              </a:rPr>
              <a:t>Headline 3 – These SmartArt </a:t>
            </a:r>
            <a:r>
              <a:rPr lang="de-DE" dirty="0" err="1">
                <a:solidFill>
                  <a:srgbClr val="0F218B"/>
                </a:solidFill>
              </a:rPr>
              <a:t>chart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an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dited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directl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in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lements</a:t>
            </a:r>
            <a:r>
              <a:rPr lang="de-DE" dirty="0">
                <a:solidFill>
                  <a:srgbClr val="0F218B"/>
                </a:solidFill>
              </a:rPr>
              <a:t>, </a:t>
            </a:r>
            <a:r>
              <a:rPr lang="de-DE" dirty="0" err="1">
                <a:solidFill>
                  <a:srgbClr val="0F218B"/>
                </a:solidFill>
              </a:rPr>
              <a:t>then</a:t>
            </a:r>
            <a:r>
              <a:rPr lang="de-DE" dirty="0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96533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423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s. We provide an environment in which people can develop to their full potential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4684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44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59341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36393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487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76090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2429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13543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7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9356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066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81091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793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99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734121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68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34895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582176" y="2746069"/>
            <a:ext cx="3028800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83816" y="1992225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83816" y="4591050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79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177691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993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47606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15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52093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220947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BCDBA-C78F-4AFE-84A6-6E65058DA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1310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0BCDBA-C78F-4AFE-84A6-6E65058DA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53485" y="1255713"/>
            <a:ext cx="11250083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366184" y="6356359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417A4E-0836-4BD1-8C28-A94B30F72941}" type="datetime1">
              <a:rPr lang="en-US" altLang="en-US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cs-CZ" dirty="0" err="1"/>
              <a:t>Confidential</a:t>
            </a:r>
            <a:endParaRPr lang="en-US" dirty="0"/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721741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2291C5-09E5-4AEE-903E-58F392543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35024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2291C5-09E5-4AEE-903E-58F392543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B57EC9-8A10-45B1-B634-EA8CF7BDE9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B85FEE8-053C-4930-8E39-BB0AD2EF25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12" y="6721635"/>
            <a:ext cx="11549888" cy="14630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11551A1-3F12-4063-BBC1-901806908FB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104" y="0"/>
            <a:ext cx="2454656" cy="579120"/>
          </a:xfrm>
          <a:prstGeom prst="rect">
            <a:avLst/>
          </a:prstGeom>
        </p:spPr>
      </p:pic>
      <p:pic>
        <p:nvPicPr>
          <p:cNvPr id="11" name="Grafik 10" descr="Ein Bild, das Regenbogen enthält.&#10;&#10;Automatisch generierte Beschreibung">
            <a:extLst>
              <a:ext uri="{FF2B5EF4-FFF2-40B4-BE49-F238E27FC236}">
                <a16:creationId xmlns:a16="http://schemas.microsoft.com/office/drawing/2014/main" id="{F1CB4C2B-327E-403E-9C7C-4242197CE2D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2192000" cy="5431536"/>
          </a:xfrm>
          <a:prstGeom prst="rect">
            <a:avLst/>
          </a:prstGeom>
        </p:spPr>
      </p:pic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750B73F9-B038-4BC2-AA37-216C98581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7786" y="1485901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4DC2AF72-8CBD-4D99-B761-0AFEF56807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7786" y="2706524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5AFD54B3-798C-4F26-A9CF-9392B7A45C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07786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Place, Date  </a:t>
            </a:r>
            <a:endParaRPr lang="en-GB" dirty="0"/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E7BC7442-FDD6-4B9B-B708-F70C113DB2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7786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Surname </a:t>
            </a:r>
            <a:endParaRPr lang="en-GB" dirty="0"/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6C5AE75F-EB3F-4F11-86BD-E9F8DA55BD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7786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Position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259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DE28E6-7637-404E-9E50-6696127AE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83676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DE28E6-7637-404E-9E50-6696127AE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5B28744-8E69-4641-9FCE-1A2DD4169A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Grafik 3" descr="Ein Bild, das draußen enthält.&#10;&#10;Automatisch generierte Beschreibung">
            <a:extLst>
              <a:ext uri="{FF2B5EF4-FFF2-40B4-BE49-F238E27FC236}">
                <a16:creationId xmlns:a16="http://schemas.microsoft.com/office/drawing/2014/main" id="{4A7F6990-4AE3-4A1D-9847-A29187FC640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776" y="900000"/>
            <a:ext cx="6364224" cy="5681472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3007786" y="1485901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007786" y="2706524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007786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Place, Date  </a:t>
            </a:r>
            <a:endParaRPr lang="en-GB" dirty="0"/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007786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Surname </a:t>
            </a:r>
            <a:endParaRPr lang="en-GB" dirty="0"/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3007786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Position </a:t>
            </a:r>
            <a:endParaRPr lang="en-GB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B85FEE8-053C-4930-8E39-BB0AD2EF258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12" y="6721635"/>
            <a:ext cx="11549888" cy="14630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11551A1-3F12-4063-BBC1-901806908FB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104" y="0"/>
            <a:ext cx="2454656" cy="57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89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27CA60-0C4B-4E22-BF95-B4095EE9F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8118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27CA60-0C4B-4E22-BF95-B4095EE9F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3007784" y="1235821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en-GB"/>
              <a:t>Agenda</a:t>
            </a:r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007784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pic>
        <p:nvPicPr>
          <p:cNvPr id="7" name="Grafik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99D611CF-9FF9-4E42-93FC-D00E7C71BFC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27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2E011F-3E98-4FFB-99BE-D792D1812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64390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2E011F-3E98-4FFB-99BE-D792D1812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228551-6A2B-437D-94D0-4D5B144795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1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en-GB"/>
              <a:t>Click to enter text</a:t>
            </a:r>
            <a:endParaRPr lang="en-GB" dirty="0"/>
          </a:p>
        </p:txBody>
      </p:sp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32982CE7-61A8-4AB8-A60D-FFE9B50D7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76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6" y="1988840"/>
            <a:ext cx="11616268" cy="38158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6964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6C9783-51F5-4A75-B606-C0195E4455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1889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F6C9783-51F5-4A75-B606-C0195E4455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42740A-4697-451C-B918-CBA30BDAB9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pic>
        <p:nvPicPr>
          <p:cNvPr id="7" name="Grafik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E25D0E0-BD52-4C94-A6D4-0E488C705E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73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133E6A-7CF2-4246-BA17-7FE08CEED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7902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133E6A-7CF2-4246-BA17-7FE08CEED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DEC2BC-7A41-4CF6-92B7-ACC63B10DA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1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1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A4089B5-B74C-453B-A765-4F1B99FA0E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9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228E8C-4D41-408B-B384-177CF5257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197962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228E8C-4D41-408B-B384-177CF5257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990AA6-58EB-4D2B-B33B-8CBED10024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2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2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2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1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58" y="1990801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1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1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pic>
        <p:nvPicPr>
          <p:cNvPr id="22" name="Grafik 21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FE7274A-152A-482E-B0BB-9E6F010FF0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692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D18958-79F3-4EDD-A9AF-BA57401E9D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0906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5D18958-79F3-4EDD-A9AF-BA57401E9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61D4DE-4FC2-4B36-9B13-B725611BBB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pic>
        <p:nvPicPr>
          <p:cNvPr id="18" name="Grafik 1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80509D7-D4DF-4292-A585-6DC74C45B10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CA917B-6114-4A36-BDA1-BB8E3FB229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5342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CA917B-6114-4A36-BDA1-BB8E3FB229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03ED97-3671-45B6-B70F-EEC1484FD3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582176" y="2746069"/>
            <a:ext cx="3028800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83816" y="1992225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83816" y="4591050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pic>
        <p:nvPicPr>
          <p:cNvPr id="25" name="Grafik 2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64AA5AB6-5013-4F53-9AF3-04716F668C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55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AE46F5-D222-422B-A55D-5AAB17FDBD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702438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5AE46F5-D222-422B-A55D-5AAB17FD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F0C776-9485-4CC9-A558-D4A7C32194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61FCE42-7A3C-40D9-A032-4A54761847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17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5F793C-220A-4012-AFEE-2050FA505B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49936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5F793C-220A-4012-AFEE-2050FA505B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pic>
        <p:nvPicPr>
          <p:cNvPr id="6" name="Grafik 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7974C9E-918D-4F18-985A-A30635A35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11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295862-B017-422B-8DAF-5A0FFD93F5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45612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295862-B017-422B-8DAF-5A0FFD93F5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4F4913-2843-4253-91BB-3BB9920EA1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794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noProof="0">
                <a:solidFill>
                  <a:schemeClr val="bg1"/>
                </a:solidFill>
              </a:rPr>
              <a:t>7,90</a:t>
            </a:r>
            <a:endParaRPr lang="en-GB" sz="800" noProof="0" dirty="0">
              <a:solidFill>
                <a:schemeClr val="bg1"/>
              </a:solidFill>
            </a:endParaRP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21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1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7,00</a:t>
            </a:r>
            <a:endParaRPr lang="en-GB" sz="800" noProof="0" dirty="0"/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11.15</a:t>
            </a:r>
            <a:endParaRPr lang="en-GB" sz="800" noProof="0" dirty="0"/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7" y="8406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0,30</a:t>
            </a:r>
            <a:endParaRPr lang="en-GB" sz="800" noProof="0" dirty="0"/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5" y="8406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0,30</a:t>
            </a:r>
            <a:endParaRPr lang="en-GB" sz="800" noProof="0" dirty="0"/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0" y="8406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11,15</a:t>
            </a:r>
            <a:endParaRPr lang="en-GB" sz="800" noProof="0" dirty="0"/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1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en-GB"/>
              <a:t>Content area and guides</a:t>
            </a:r>
            <a:endParaRPr lang="en-GB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69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noProof="0">
                <a:solidFill>
                  <a:schemeClr val="bg1"/>
                </a:solidFill>
              </a:rPr>
              <a:t>5,37</a:t>
            </a:r>
            <a:endParaRPr lang="en-GB" sz="800" noProof="0" dirty="0">
              <a:solidFill>
                <a:schemeClr val="bg1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GB" sz="1800" noProof="0">
                <a:solidFill>
                  <a:schemeClr val="tx1"/>
                </a:solidFill>
              </a:rPr>
            </a:br>
            <a:r>
              <a:rPr lang="en-GB" sz="1800" noProof="0">
                <a:solidFill>
                  <a:schemeClr val="tx1"/>
                </a:solidFill>
              </a:rPr>
              <a:t>Please restrict your content to this area</a:t>
            </a:r>
            <a:endParaRPr lang="en-GB" sz="1800" noProof="0" dirty="0">
              <a:solidFill>
                <a:schemeClr val="tx1"/>
              </a:solidFill>
            </a:endParaRPr>
          </a:p>
        </p:txBody>
      </p:sp>
      <p:pic>
        <p:nvPicPr>
          <p:cNvPr id="21" name="Grafik 2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458BB0D-A6E3-48A0-A5E3-FFE4BB61CA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78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73710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</p:spTree>
    <p:extLst>
      <p:ext uri="{BB962C8B-B14F-4D97-AF65-F5344CB8AC3E}">
        <p14:creationId xmlns:p14="http://schemas.microsoft.com/office/powerpoint/2010/main" val="7624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1731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2597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86346" y="2060848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081166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01612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648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35840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973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47887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358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30189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3155" y="6349128"/>
            <a:ext cx="449389" cy="246221"/>
          </a:xfrm>
        </p:spPr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138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07945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304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1266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903014" y="2746069"/>
            <a:ext cx="2298975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428411" y="1992225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428411" y="4591050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88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29078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28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27224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95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16339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163242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1746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</p:spTree>
    <p:extLst>
      <p:ext uri="{BB962C8B-B14F-4D97-AF65-F5344CB8AC3E}">
        <p14:creationId xmlns:p14="http://schemas.microsoft.com/office/powerpoint/2010/main" val="387954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7" y="2492897"/>
            <a:ext cx="5664117" cy="3311810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40016" y="2492897"/>
            <a:ext cx="5664117" cy="331181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0297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2901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0856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87238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56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40644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424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789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307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4933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3155" y="6349128"/>
            <a:ext cx="449389" cy="246221"/>
          </a:xfrm>
        </p:spPr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15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097521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698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67505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903014" y="2746069"/>
            <a:ext cx="2298975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428411" y="1992225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428411" y="4591050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653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04209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160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249923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41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70931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285138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287867" y="2457451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56133" y="2457450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272000" y="2457449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932663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10604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B6B3B6F-BCDE-451B-97B8-FA841B8A6C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80060"/>
            <a:ext cx="12192000" cy="5428822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8219C8B-C675-4FBB-AFDB-EBEB44BB5E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584" y="6718695"/>
            <a:ext cx="1171041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9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05009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8219C8B-C675-4FBB-AFDB-EBEB44BB5E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584" y="6718695"/>
            <a:ext cx="1171041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74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97093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4756C9-9BF1-470E-BE37-94B694D57C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28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3201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546E2B-81DA-42D7-A06D-FB237B319A3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52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20734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7ED35DD-3BF8-4D83-AC28-EB5A176FC6E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24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3015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5C26B2D-01CE-429E-B8CB-E87697A2F3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6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4639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3155" y="6349128"/>
            <a:ext cx="449389" cy="246221"/>
          </a:xfrm>
        </p:spPr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119DA0F4-2BDF-4A3E-9E05-B7101FB431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714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179994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A21437A-0A0B-4036-BFA3-026E8D6BC7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99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57337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903014" y="2746069"/>
            <a:ext cx="2298975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428411" y="1992225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428411" y="4591050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846F75B8-482E-4B84-A673-A4A29672BA0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44725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EEEB8B2-D3C6-45FC-8473-EB5982C58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94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915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053738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8B86CF7-5647-4B57-8CE7-CDEFF3D095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439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55251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533BF75-07CC-4AF7-8DB4-F66692271FF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36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30D00F-56C7-4122-BC68-27DEB6BF4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ADB6F78-BF28-4C9A-A91B-237F2BBBA1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817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8693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,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628" y="6746157"/>
            <a:ext cx="8492464" cy="1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4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61035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3440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07684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3730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64064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136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65153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94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35530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698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12381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72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344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21928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582176" y="2746069"/>
            <a:ext cx="3028800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83816" y="1992225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83816" y="4591050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616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85064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324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88884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711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77763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377516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BCDBA-C78F-4AFE-84A6-6E65058DA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76443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0BCDBA-C78F-4AFE-84A6-6E65058DA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53485" y="1255713"/>
            <a:ext cx="11250083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366184" y="6356359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417A4E-0836-4BD1-8C28-A94B30F72941}" type="datetime1">
              <a:rPr lang="en-US" altLang="en-US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cs-CZ" dirty="0" err="1"/>
              <a:t>Confidential</a:t>
            </a:r>
            <a:endParaRPr lang="en-US" dirty="0"/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0114790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277961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688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34795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621912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261878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410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3099075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89478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 dirty="0"/>
              <a:t>   </a:t>
            </a:r>
            <a:br>
              <a:rPr lang="de-DE" b="1" dirty="0"/>
            </a:br>
            <a:r>
              <a:rPr lang="de-DE" b="1" dirty="0"/>
              <a:t> </a:t>
            </a:r>
            <a:endParaRPr lang="de-DE" b="1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r>
              <a:rPr lang="de-DE" sz="900" i="1" dirty="0">
                <a:solidFill>
                  <a:prstClr val="black"/>
                </a:solidFill>
              </a:rPr>
              <a:t>Source: Insert </a:t>
            </a:r>
            <a:r>
              <a:rPr lang="de-DE" sz="900" i="1" dirty="0" err="1">
                <a:solidFill>
                  <a:prstClr val="black"/>
                </a:solidFill>
              </a:rPr>
              <a:t>here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if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applicable</a:t>
            </a:r>
            <a:endParaRPr lang="de-DE" sz="900" dirty="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461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pi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har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on it. </a:t>
            </a:r>
            <a:r>
              <a:rPr lang="de-DE" dirty="0" err="1">
                <a:solidFill>
                  <a:srgbClr val="0F218B"/>
                </a:solidFill>
              </a:rPr>
              <a:t>Now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</a:t>
            </a:r>
            <a:r>
              <a:rPr lang="de-DE" dirty="0">
                <a:solidFill>
                  <a:srgbClr val="0F218B"/>
                </a:solidFill>
              </a:rPr>
              <a:t>. </a:t>
            </a:r>
            <a:r>
              <a:rPr lang="de-DE" dirty="0" err="1">
                <a:solidFill>
                  <a:srgbClr val="0F218B"/>
                </a:solidFill>
              </a:rPr>
              <a:t>If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you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keep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ursor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bo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, a </a:t>
            </a:r>
            <a:r>
              <a:rPr lang="de-DE" dirty="0" err="1">
                <a:solidFill>
                  <a:srgbClr val="0F218B"/>
                </a:solidFill>
              </a:rPr>
              <a:t>descripti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s</a:t>
            </a:r>
            <a:r>
              <a:rPr lang="de-DE" dirty="0">
                <a:solidFill>
                  <a:srgbClr val="0F218B"/>
                </a:solidFill>
              </a:rPr>
              <a:t>. </a:t>
            </a:r>
          </a:p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yp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ayout</a:t>
            </a:r>
            <a:r>
              <a:rPr lang="de-DE" dirty="0"/>
              <a:t> and </a:t>
            </a:r>
            <a:r>
              <a:rPr lang="de-DE" dirty="0" err="1"/>
              <a:t>colour</a:t>
            </a:r>
            <a:r>
              <a:rPr lang="de-DE" dirty="0"/>
              <a:t> </a:t>
            </a:r>
            <a:r>
              <a:rPr lang="de-DE" dirty="0" err="1"/>
              <a:t>scheme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vis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frai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gradients</a:t>
            </a:r>
            <a:r>
              <a:rPr lang="de-DE" dirty="0"/>
              <a:t> and </a:t>
            </a:r>
            <a:r>
              <a:rPr lang="de-DE" dirty="0" err="1"/>
              <a:t>shadows</a:t>
            </a:r>
            <a:r>
              <a:rPr lang="de-DE" dirty="0"/>
              <a:t> –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no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in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. </a:t>
            </a:r>
          </a:p>
          <a:p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  <a:endParaRPr lang="de-DE" dirty="0"/>
          </a:p>
          <a:p>
            <a:endParaRPr lang="de-DE" dirty="0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87442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 dirty="0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2699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general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idea</a:t>
            </a:r>
            <a:r>
              <a:rPr lang="de-DE" dirty="0"/>
              <a:t> jus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</a:t>
            </a:r>
            <a:r>
              <a:rPr lang="de-DE" dirty="0" err="1"/>
              <a:t>abstracts</a:t>
            </a:r>
            <a:r>
              <a:rPr lang="de-DE" dirty="0"/>
              <a:t> -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creen </a:t>
            </a:r>
            <a:r>
              <a:rPr lang="de-DE" dirty="0" err="1"/>
              <a:t>presentation</a:t>
            </a:r>
            <a:r>
              <a:rPr lang="de-DE" dirty="0"/>
              <a:t>, and </a:t>
            </a:r>
            <a:r>
              <a:rPr lang="de-DE" dirty="0" err="1"/>
              <a:t>nobody</a:t>
            </a:r>
            <a:r>
              <a:rPr lang="de-DE" dirty="0"/>
              <a:t>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 dirty="0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Be aware that there is a significant difference between using only the enter-key and using the combination of enter- and shift-key</a:t>
            </a:r>
            <a:r>
              <a:rPr lang="de-DE" dirty="0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extbox</a:t>
            </a:r>
            <a:r>
              <a:rPr lang="de-DE" dirty="0"/>
              <a:t>,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ter-</a:t>
            </a:r>
            <a:r>
              <a:rPr lang="de-DE" dirty="0" err="1"/>
              <a:t>key</a:t>
            </a:r>
            <a:r>
              <a:rPr lang="de-DE" dirty="0"/>
              <a:t> will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aragraph</a:t>
            </a:r>
            <a:r>
              <a:rPr lang="de-DE" dirty="0"/>
              <a:t>, </a:t>
            </a:r>
            <a:r>
              <a:rPr lang="de-DE" dirty="0" err="1"/>
              <a:t>causing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in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(like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entence</a:t>
            </a:r>
            <a:r>
              <a:rPr lang="de-DE" dirty="0"/>
              <a:t>) and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, </a:t>
            </a:r>
            <a:r>
              <a:rPr lang="de-DE" dirty="0" err="1"/>
              <a:t>use</a:t>
            </a:r>
            <a:r>
              <a:rPr lang="de-DE" dirty="0"/>
              <a:t> shift-</a:t>
            </a:r>
            <a:r>
              <a:rPr lang="de-DE" dirty="0" err="1"/>
              <a:t>enter</a:t>
            </a:r>
            <a:r>
              <a:rPr lang="de-DE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2966787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here</a:t>
            </a:r>
            <a:r>
              <a:rPr lang="de-DE" dirty="0">
                <a:solidFill>
                  <a:srgbClr val="0F218B"/>
                </a:solidFill>
              </a:rPr>
              <a:t>.</a:t>
            </a:r>
            <a:endParaRPr lang="de-DE" i="1" dirty="0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 dirty="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08437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 dirty="0">
                <a:solidFill>
                  <a:srgbClr val="0F218B"/>
                </a:solidFill>
              </a:rPr>
              <a:t>Headline 3 – Edit </a:t>
            </a:r>
            <a:r>
              <a:rPr lang="de-DE" b="1" dirty="0" err="1">
                <a:solidFill>
                  <a:srgbClr val="0F218B"/>
                </a:solidFill>
              </a:rPr>
              <a:t>text</a:t>
            </a:r>
            <a:r>
              <a:rPr lang="de-DE" b="1" dirty="0">
                <a:solidFill>
                  <a:srgbClr val="0F218B"/>
                </a:solidFill>
              </a:rPr>
              <a:t> </a:t>
            </a:r>
            <a:r>
              <a:rPr lang="de-DE" b="1" dirty="0" err="1">
                <a:solidFill>
                  <a:srgbClr val="0F218B"/>
                </a:solidFill>
              </a:rPr>
              <a:t>here</a:t>
            </a:r>
            <a:r>
              <a:rPr lang="de-DE" b="1" dirty="0">
                <a:solidFill>
                  <a:srgbClr val="0F218B"/>
                </a:solidFill>
              </a:rPr>
              <a:t>.</a:t>
            </a:r>
            <a:endParaRPr lang="de-DE" b="1" i="1" dirty="0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601168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F218B"/>
                </a:solidFill>
              </a:rPr>
              <a:t>Headline 3 – These SmartArt </a:t>
            </a:r>
            <a:r>
              <a:rPr lang="de-DE" dirty="0" err="1">
                <a:solidFill>
                  <a:srgbClr val="0F218B"/>
                </a:solidFill>
              </a:rPr>
              <a:t>chart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an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dited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directl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in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lements</a:t>
            </a:r>
            <a:r>
              <a:rPr lang="de-DE" dirty="0">
                <a:solidFill>
                  <a:srgbClr val="0F218B"/>
                </a:solidFill>
              </a:rPr>
              <a:t>, </a:t>
            </a:r>
            <a:r>
              <a:rPr lang="de-DE" dirty="0" err="1">
                <a:solidFill>
                  <a:srgbClr val="0F218B"/>
                </a:solidFill>
              </a:rPr>
              <a:t>then</a:t>
            </a:r>
            <a:r>
              <a:rPr lang="de-DE" dirty="0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742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8390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ags" Target="../tags/tag139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image" Target="../media/image26.emf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oleObject" Target="../embeddings/oleObject76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oleObject" Target="../embeddings/oleObject77.bin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tags" Target="../tags/tag140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24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image" Target="../media/image26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3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4.xml"/><Relationship Id="rId18" Type="http://schemas.openxmlformats.org/officeDocument/2006/relationships/image" Target="../media/image10.jp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2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48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17" Type="http://schemas.openxmlformats.org/officeDocument/2006/relationships/image" Target="../media/image17.jpg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oleObject" Target="../embeddings/oleObject27.bin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ags" Target="../tags/tag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ags" Target="../tags/tag70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17" Type="http://schemas.openxmlformats.org/officeDocument/2006/relationships/image" Target="../media/image17.jp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oleObject" Target="../embeddings/oleObject39.bin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ags" Target="../tags/tag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oleObject" Target="../embeddings/oleObject51.bin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93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92.xml"/><Relationship Id="rId10" Type="http://schemas.openxmlformats.org/officeDocument/2006/relationships/slideLayout" Target="../slideLayouts/slideLayout69.xml"/><Relationship Id="rId19" Type="http://schemas.openxmlformats.org/officeDocument/2006/relationships/image" Target="../media/image17.jpg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8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74.xml"/><Relationship Id="rId16" Type="http://schemas.openxmlformats.org/officeDocument/2006/relationships/oleObject" Target="../embeddings/oleObject63.bin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117.xml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ags" Target="../tags/tag11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87354" y="2523218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32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76" r:id="rId2"/>
    <p:sldLayoutId id="2147483731" r:id="rId3"/>
    <p:sldLayoutId id="2147483732" r:id="rId4"/>
    <p:sldLayoutId id="2147483733" r:id="rId5"/>
    <p:sldLayoutId id="2147483742" r:id="rId6"/>
    <p:sldLayoutId id="2147483736" r:id="rId7"/>
    <p:sldLayoutId id="2147483780" r:id="rId8"/>
    <p:sldLayoutId id="2147483771" r:id="rId9"/>
    <p:sldLayoutId id="2147483775" r:id="rId10"/>
    <p:sldLayoutId id="21474837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2FC3AD-C1F5-4940-89D9-D3B106E025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49848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2FC3AD-C1F5-4940-89D9-D3B106E025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87354" y="2523218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483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333C59-845A-93C7-CD3C-2DDFA85EC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53233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333C59-845A-93C7-CD3C-2DDFA85EC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748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4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9166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3824626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988884" y="6561306"/>
            <a:ext cx="3464432" cy="242601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48601" y="6561301"/>
            <a:ext cx="76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30" name="Datumsplatzhalter 29"/>
          <p:cNvSpPr>
            <a:spLocks noGrp="1"/>
          </p:cNvSpPr>
          <p:nvPr>
            <p:ph type="dt" sz="half" idx="2"/>
          </p:nvPr>
        </p:nvSpPr>
        <p:spPr>
          <a:xfrm>
            <a:off x="6409267" y="6561297"/>
            <a:ext cx="914400" cy="2412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888" y="0"/>
            <a:ext cx="6139204" cy="65232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92" y="6746157"/>
            <a:ext cx="3017782" cy="1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258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165A67F-7993-471A-BDA9-5436739C2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834243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416" imgH="416" progId="TCLayout.ActiveDocument.1">
                  <p:embed/>
                </p:oleObj>
              </mc:Choice>
              <mc:Fallback>
                <p:oleObj name="think-cell Folie" r:id="rId16" imgW="416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165A67F-7993-471A-BDA9-5436739C2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AFA254B-ED78-421E-9B27-6BAD81A4214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421258"/>
            <a:ext cx="720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ctr">
              <a:defRPr sz="1400" b="1"/>
            </a:lvl1pPr>
          </a:lstStyle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5" y="843851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nter title</a:t>
            </a:r>
            <a:endParaRPr lang="en-GB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pic>
        <p:nvPicPr>
          <p:cNvPr id="6" name="Grafik 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DDC9C1-EB40-490C-8CE0-62435FED907E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085" y="1098"/>
            <a:ext cx="4714240" cy="64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279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0540333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1758" y="6373192"/>
            <a:ext cx="48161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F6053F-18B8-4953-ACCD-2BE8DF16C2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26" r="1125"/>
          <a:stretch/>
        </p:blipFill>
        <p:spPr>
          <a:xfrm>
            <a:off x="-2625" y="0"/>
            <a:ext cx="3384000" cy="64617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48EB256-E340-470E-9028-04D2438C2B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20" r="-42220"/>
          <a:stretch/>
        </p:blipFill>
        <p:spPr>
          <a:xfrm>
            <a:off x="8651688" y="-6153"/>
            <a:ext cx="6139204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246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4665095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1758" y="6373192"/>
            <a:ext cx="48161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F6053F-18B8-4953-ACCD-2BE8DF16C2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26" r="1125"/>
          <a:stretch/>
        </p:blipFill>
        <p:spPr>
          <a:xfrm>
            <a:off x="-2625" y="0"/>
            <a:ext cx="3384000" cy="64617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48EB256-E340-470E-9028-04D2438C2B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20" r="-42220"/>
          <a:stretch/>
        </p:blipFill>
        <p:spPr>
          <a:xfrm>
            <a:off x="8651688" y="-6153"/>
            <a:ext cx="6139204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92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0009807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1758" y="6373192"/>
            <a:ext cx="48161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F6053F-18B8-4953-ACCD-2BE8DF16C290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68" y="-3052"/>
            <a:ext cx="8028432" cy="64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59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6635866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988884" y="6561306"/>
            <a:ext cx="3464432" cy="242601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48601" y="6561301"/>
            <a:ext cx="76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30" name="Datumsplatzhalter 29"/>
          <p:cNvSpPr>
            <a:spLocks noGrp="1"/>
          </p:cNvSpPr>
          <p:nvPr>
            <p:ph type="dt" sz="half" idx="2"/>
          </p:nvPr>
        </p:nvSpPr>
        <p:spPr>
          <a:xfrm>
            <a:off x="6409267" y="6561297"/>
            <a:ext cx="914400" cy="2412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/31/2025</a:t>
            </a:fld>
            <a:endParaRPr lang="en-US" alt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888" y="0"/>
            <a:ext cx="6139204" cy="65232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92" y="6746157"/>
            <a:ext cx="3017782" cy="1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348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00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1B384A-CFB9-264F-8721-6D940852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 European Network Codes Stakeholder Committe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B60B0B-8DF0-E843-924C-19DE2E5268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2588" y="946007"/>
            <a:ext cx="11617788" cy="442428"/>
          </a:xfrm>
        </p:spPr>
        <p:txBody>
          <a:bodyPr>
            <a:normAutofit/>
          </a:bodyPr>
          <a:lstStyle/>
          <a:p>
            <a:r>
              <a:rPr lang="en-GB" sz="2400" i="1" dirty="0"/>
              <a:t>Long Term Flow Based Allocation</a:t>
            </a:r>
            <a:endParaRPr lang="en-GB" sz="2400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D0B4322-322C-425F-8CA1-274CC61104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732119"/>
              </p:ext>
            </p:extLst>
          </p:nvPr>
        </p:nvGraphicFramePr>
        <p:xfrm>
          <a:off x="382588" y="2276872"/>
          <a:ext cx="10729192" cy="304800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0729192">
                  <a:extLst>
                    <a:ext uri="{9D8B030D-6E8A-4147-A177-3AD203B41FA5}">
                      <a16:colId xmlns:a16="http://schemas.microsoft.com/office/drawing/2014/main" val="27733729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endParaRPr lang="en-US" sz="2000" dirty="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2000" dirty="0">
                          <a:solidFill>
                            <a:srgbClr val="2054A5"/>
                          </a:solidFill>
                        </a:rPr>
                        <a:t>All TSOs continue with the implementation of the Long-Term Flow Based project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endParaRPr lang="en-US" sz="2000" dirty="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2000" dirty="0">
                          <a:solidFill>
                            <a:srgbClr val="2054A5"/>
                          </a:solidFill>
                        </a:rPr>
                        <a:t>Go Live of the Long-Term Flow Based Allocation will be </a:t>
                      </a:r>
                      <a:r>
                        <a:rPr lang="en-US" sz="2000">
                          <a:solidFill>
                            <a:srgbClr val="2054A5"/>
                          </a:solidFill>
                        </a:rPr>
                        <a:t>in November 2026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endParaRPr lang="en-US" sz="200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2000" dirty="0">
                          <a:solidFill>
                            <a:srgbClr val="2054A5"/>
                          </a:solidFill>
                        </a:rPr>
                        <a:t>Workshop with ACER, NRAs, TSOs organised on 5 Feb to assess the way forward – oral update will be given during the MESC meeting.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endParaRPr lang="en-US" sz="2000" dirty="0">
                        <a:solidFill>
                          <a:srgbClr val="2054A5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2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6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4300" marR="114300" marT="0" marB="0"/>
                </a:tc>
                <a:extLst>
                  <a:ext uri="{0D108BD9-81ED-4DB2-BD59-A6C34878D82A}">
                    <a16:rowId xmlns:a16="http://schemas.microsoft.com/office/drawing/2014/main" val="321115644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20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4300" marR="114300" marT="0" marB="0"/>
                </a:tc>
                <a:extLst>
                  <a:ext uri="{0D108BD9-81ED-4DB2-BD59-A6C34878D82A}">
                    <a16:rowId xmlns:a16="http://schemas.microsoft.com/office/drawing/2014/main" val="691975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8950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1B384A-CFB9-264F-8721-6D940852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 European Network Codes Stakeholder Committe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B60B0B-8DF0-E843-924C-19DE2E5268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2588" y="946007"/>
            <a:ext cx="11617788" cy="442428"/>
          </a:xfrm>
        </p:spPr>
        <p:txBody>
          <a:bodyPr>
            <a:normAutofit/>
          </a:bodyPr>
          <a:lstStyle/>
          <a:p>
            <a:r>
              <a:rPr lang="en-GB" sz="2400" i="1" dirty="0"/>
              <a:t>Harmonised Allocation Rules (HAR)</a:t>
            </a:r>
            <a:endParaRPr lang="en-GB" sz="2400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D0B4322-322C-425F-8CA1-274CC61104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5576169"/>
              </p:ext>
            </p:extLst>
          </p:nvPr>
        </p:nvGraphicFramePr>
        <p:xfrm>
          <a:off x="382588" y="1772816"/>
          <a:ext cx="10729192" cy="475488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0729192">
                  <a:extLst>
                    <a:ext uri="{9D8B030D-6E8A-4147-A177-3AD203B41FA5}">
                      <a16:colId xmlns:a16="http://schemas.microsoft.com/office/drawing/2014/main" val="27733729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endParaRPr lang="en-US" sz="2000" dirty="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2000" dirty="0">
                          <a:solidFill>
                            <a:srgbClr val="2054A5"/>
                          </a:solidFill>
                        </a:rPr>
                        <a:t>All TSOs proposed </a:t>
                      </a:r>
                      <a:r>
                        <a:rPr lang="en-GB" sz="2000" dirty="0">
                          <a:solidFill>
                            <a:srgbClr val="2054A5"/>
                          </a:solidFill>
                        </a:rPr>
                        <a:t>amendments of the methodology for HAR for long-term transmission rights.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endParaRPr lang="en-GB" sz="2000" dirty="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GB" sz="2000" dirty="0">
                          <a:solidFill>
                            <a:srgbClr val="2054A5"/>
                          </a:solidFill>
                        </a:rPr>
                        <a:t>Amendment proposal contains: 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GB" sz="1600" dirty="0">
                          <a:solidFill>
                            <a:srgbClr val="2054A5"/>
                          </a:solidFill>
                        </a:rPr>
                        <a:t>         (1) MTU-related changes; 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GB" sz="1600" dirty="0">
                          <a:solidFill>
                            <a:srgbClr val="2054A5"/>
                          </a:solidFill>
                        </a:rPr>
                        <a:t>         (2) changes related to Registration; 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GB" sz="1600" dirty="0">
                          <a:solidFill>
                            <a:srgbClr val="2054A5"/>
                          </a:solidFill>
                        </a:rPr>
                        <a:t>         (3) Refusal of application, suspension, termination; 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GB" sz="1600" dirty="0">
                          <a:solidFill>
                            <a:srgbClr val="2054A5"/>
                          </a:solidFill>
                        </a:rPr>
                        <a:t>         (4) Clarification on prices; 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GB" sz="1600" dirty="0">
                          <a:solidFill>
                            <a:srgbClr val="2054A5"/>
                          </a:solidFill>
                        </a:rPr>
                        <a:t>         (5) Price cap publication;  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GB" sz="1600" dirty="0">
                          <a:solidFill>
                            <a:srgbClr val="2054A5"/>
                          </a:solidFill>
                        </a:rPr>
                        <a:t>         (6) Financial-related changes; 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GB" sz="1600" dirty="0">
                          <a:solidFill>
                            <a:srgbClr val="2054A5"/>
                          </a:solidFill>
                        </a:rPr>
                        <a:t>         (7) Additional clarifications and corrections.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endParaRPr lang="en-GB" sz="2000" dirty="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GB" sz="2000" dirty="0">
                          <a:solidFill>
                            <a:srgbClr val="2054A5"/>
                          </a:solidFill>
                        </a:rPr>
                        <a:t>Public consultation open between 2 Jan – 2 Feb 2025.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endParaRPr lang="en-GB" sz="2000" dirty="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GB" sz="2000" dirty="0">
                          <a:solidFill>
                            <a:srgbClr val="2054A5"/>
                          </a:solidFill>
                        </a:rPr>
                        <a:t>Next steps: HAR proposed amendments to be officially submitted by 31 March 2025.</a:t>
                      </a:r>
                      <a:endParaRPr kumimoji="0" lang="en-GB" sz="2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6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4300" marR="114300" marT="0" marB="0"/>
                </a:tc>
                <a:extLst>
                  <a:ext uri="{0D108BD9-81ED-4DB2-BD59-A6C34878D82A}">
                    <a16:rowId xmlns:a16="http://schemas.microsoft.com/office/drawing/2014/main" val="321115644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20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4300" marR="114300" marT="0" marB="0"/>
                </a:tc>
                <a:extLst>
                  <a:ext uri="{0D108BD9-81ED-4DB2-BD59-A6C34878D82A}">
                    <a16:rowId xmlns:a16="http://schemas.microsoft.com/office/drawing/2014/main" val="691975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6884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LNeLvx7de3x1nyDWwM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LzcQdFK6B9NNsK9CwZ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to37o8pzlzZiG9cr2r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snzKj0hHNu2zO139.F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E2o7.vVRUSKoDAUFGR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nETvQNJlGnZ42meC40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m65VfHYl15numuPICkS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SqT5.4N_TUI8.ZgYAs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POxhMpnF3SSLmxCDb1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4Hj5dia8nG__z0p9X9m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UFjM8lld4AqLT5a8RJ.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 new powerpoint template.potx [Read-Only]" id="{2B8CF765-5A27-4355-A585-B2D619BE3B05}" vid="{5B43BAD4-03AB-4DCB-B2C9-2C2FA02EC2DF}"/>
    </a:ext>
  </a:extLst>
</a:theme>
</file>

<file path=ppt/theme/theme10.xml><?xml version="1.0" encoding="utf-8"?>
<a:theme xmlns:a="http://schemas.openxmlformats.org/drawingml/2006/main" name="4_ENTSO-E Content">
  <a:themeElements>
    <a:clrScheme name="ENTSO-E Colours">
      <a:dk1>
        <a:srgbClr val="3A3A3F"/>
      </a:dk1>
      <a:lt1>
        <a:srgbClr val="FFFFFF"/>
      </a:lt1>
      <a:dk2>
        <a:srgbClr val="0F218B"/>
      </a:dk2>
      <a:lt2>
        <a:srgbClr val="E7E6E6"/>
      </a:lt2>
      <a:accent1>
        <a:srgbClr val="0F218B"/>
      </a:accent1>
      <a:accent2>
        <a:srgbClr val="00947F"/>
      </a:accent2>
      <a:accent3>
        <a:srgbClr val="FF4D00"/>
      </a:accent3>
      <a:accent4>
        <a:srgbClr val="FFCC00"/>
      </a:accent4>
      <a:accent5>
        <a:srgbClr val="28ACBF"/>
      </a:accent5>
      <a:accent6>
        <a:srgbClr val="B9037E"/>
      </a:accent6>
      <a:hlink>
        <a:srgbClr val="0F218B"/>
      </a:hlink>
      <a:folHlink>
        <a:srgbClr val="0F218B"/>
      </a:folHlink>
    </a:clrScheme>
    <a:fontScheme name="ENTSO-E Fonts">
      <a:majorFont>
        <a:latin typeface="Roboto Condensed"/>
        <a:ea typeface=""/>
        <a:cs typeface=""/>
      </a:majorFont>
      <a:minorFont>
        <a:latin typeface="Roboto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 Market Report and Balancing Report 2022_V4" id="{50E946C6-2A3D-4E34-99F5-3C3F474EB17F}" vid="{5F0E749E-19DD-43F9-A658-713BD97C82C1}"/>
    </a:ext>
  </a:extLst>
</a:theme>
</file>

<file path=ppt/theme/theme11.xml><?xml version="1.0" encoding="utf-8"?>
<a:theme xmlns:a="http://schemas.openxmlformats.org/drawingml/2006/main" name="5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12.xml><?xml version="1.0" encoding="utf-8"?>
<a:theme xmlns:a="http://schemas.openxmlformats.org/drawingml/2006/main" name="6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6436E805-6281-4D28-9214-61C90FC0BFD2}"/>
    </a:ext>
  </a:extLst>
</a:theme>
</file>

<file path=ppt/theme/theme1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blank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 new powerpoint template.potx [Read-Only]" id="{2B8CF765-5A27-4355-A585-B2D619BE3B05}" vid="{B22A47C8-0671-4523-952A-04E8BAF8B972}"/>
    </a:ext>
  </a:extLst>
</a:theme>
</file>

<file path=ppt/theme/theme3.xml><?xml version="1.0" encoding="utf-8"?>
<a:theme xmlns:a="http://schemas.openxmlformats.org/drawingml/2006/main" name="XBID Templates">
  <a:themeElements>
    <a:clrScheme name="XBID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XBID Templates">
  <a:themeElements>
    <a:clrScheme name="SDAC_1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00B1AC"/>
      </a:accent1>
      <a:accent2>
        <a:srgbClr val="FED9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00B1AC"/>
      </a:hlink>
      <a:folHlink>
        <a:srgbClr val="FED9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2_XBID Templates">
  <a:themeElements>
    <a:clrScheme name="XBID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3_XBID Templates">
  <a:themeElements>
    <a:clrScheme name="Benutzerdefiniert 7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00B1AC"/>
      </a:accent3>
      <a:accent4>
        <a:srgbClr val="9D9D9D"/>
      </a:accent4>
      <a:accent5>
        <a:srgbClr val="FED900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4_XBID Templates">
  <a:themeElements>
    <a:clrScheme name="Benutzerdefiniert 5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00B1AC"/>
      </a:accent1>
      <a:accent2>
        <a:srgbClr val="FED9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00B1AC"/>
      </a:hlink>
      <a:folHlink>
        <a:srgbClr val="00B1AC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XBID Templates">
  <a:themeElements>
    <a:clrScheme name="XBID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ntso-e new powerpoint template</Template>
  <TotalTime>16913</TotalTime>
  <Words>179</Words>
  <Application>Microsoft Office PowerPoint</Application>
  <PresentationFormat>Widescreen</PresentationFormat>
  <Paragraphs>2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22" baseType="lpstr">
      <vt:lpstr>Arial</vt:lpstr>
      <vt:lpstr>Calibri</vt:lpstr>
      <vt:lpstr>Roboto</vt:lpstr>
      <vt:lpstr>Roboto Condensed</vt:lpstr>
      <vt:lpstr>Symbol</vt:lpstr>
      <vt:lpstr>Trebuchet MS</vt:lpstr>
      <vt:lpstr>2_ENTSO-E Content</vt:lpstr>
      <vt:lpstr>13_blank slide</vt:lpstr>
      <vt:lpstr>XBID Templates</vt:lpstr>
      <vt:lpstr>1_XBID Templates</vt:lpstr>
      <vt:lpstr>2_XBID Templates</vt:lpstr>
      <vt:lpstr>3_XBID Templates</vt:lpstr>
      <vt:lpstr>4_XBID Templates</vt:lpstr>
      <vt:lpstr>5_XBID Templates</vt:lpstr>
      <vt:lpstr>3_ENTSO-E Content</vt:lpstr>
      <vt:lpstr>4_ENTSO-E Content</vt:lpstr>
      <vt:lpstr>5_ENTSO-E Content</vt:lpstr>
      <vt:lpstr>6_ENTSO-E Content</vt:lpstr>
      <vt:lpstr>think-cell Slide</vt:lpstr>
      <vt:lpstr>think-cell Folie</vt:lpstr>
      <vt:lpstr>Market European Network Codes Stakeholder Committee </vt:lpstr>
      <vt:lpstr>Market European Network Codes Stakeholder Committee </vt:lpstr>
    </vt:vector>
  </TitlesOfParts>
  <Company/>
  <LinksUpToDate>false</LinksUpToDate>
  <SharedDoc>false</SharedDoc>
  <HyperlinkBase>https://www.evg-online.org/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78th ENTSO-E Market Committee meeting</dc:title>
  <dc:subject>PowerPoint Master</dc:subject>
  <dc:creator>Ludivine Marcenac</dc:creator>
  <cp:keywords>ENTSO-E PowerPoint</cp:keywords>
  <cp:lastModifiedBy>Ludivine Marcenac</cp:lastModifiedBy>
  <cp:revision>311</cp:revision>
  <dcterms:created xsi:type="dcterms:W3CDTF">2020-04-29T07:49:35Z</dcterms:created>
  <dcterms:modified xsi:type="dcterms:W3CDTF">2025-01-31T15:11:01Z</dcterms:modified>
  <cp:category>PowerPoin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3d85773-5cd5-4f10-ac4a-b9714896040c_Enabled">
    <vt:lpwstr>true</vt:lpwstr>
  </property>
  <property fmtid="{D5CDD505-2E9C-101B-9397-08002B2CF9AE}" pid="3" name="MSIP_Label_c3d85773-5cd5-4f10-ac4a-b9714896040c_SetDate">
    <vt:lpwstr>2021-09-13T02:11:31Z</vt:lpwstr>
  </property>
  <property fmtid="{D5CDD505-2E9C-101B-9397-08002B2CF9AE}" pid="4" name="MSIP_Label_c3d85773-5cd5-4f10-ac4a-b9714896040c_Method">
    <vt:lpwstr>Privileged</vt:lpwstr>
  </property>
  <property fmtid="{D5CDD505-2E9C-101B-9397-08002B2CF9AE}" pid="5" name="MSIP_Label_c3d85773-5cd5-4f10-ac4a-b9714896040c_Name">
    <vt:lpwstr>Ikke Statnett-informasjon</vt:lpwstr>
  </property>
  <property fmtid="{D5CDD505-2E9C-101B-9397-08002B2CF9AE}" pid="6" name="MSIP_Label_c3d85773-5cd5-4f10-ac4a-b9714896040c_SiteId">
    <vt:lpwstr>a8d61462-f252-44b2-bf6a-d7231960c041</vt:lpwstr>
  </property>
  <property fmtid="{D5CDD505-2E9C-101B-9397-08002B2CF9AE}" pid="7" name="MSIP_Label_c3d85773-5cd5-4f10-ac4a-b9714896040c_ActionId">
    <vt:lpwstr>4fd82a2a-ecfb-449a-a1d7-871cc198e5f0</vt:lpwstr>
  </property>
  <property fmtid="{D5CDD505-2E9C-101B-9397-08002B2CF9AE}" pid="8" name="MSIP_Label_c3d85773-5cd5-4f10-ac4a-b9714896040c_ContentBits">
    <vt:lpwstr>0</vt:lpwstr>
  </property>
</Properties>
</file>